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29"/>
  </p:notesMasterIdLst>
  <p:sldIdLst>
    <p:sldId id="1676" r:id="rId5"/>
    <p:sldId id="1611" r:id="rId6"/>
    <p:sldId id="1713" r:id="rId7"/>
    <p:sldId id="1689" r:id="rId8"/>
    <p:sldId id="1691" r:id="rId9"/>
    <p:sldId id="1692" r:id="rId10"/>
    <p:sldId id="1693" r:id="rId11"/>
    <p:sldId id="1695" r:id="rId12"/>
    <p:sldId id="1696" r:id="rId13"/>
    <p:sldId id="1697" r:id="rId14"/>
    <p:sldId id="1698" r:id="rId15"/>
    <p:sldId id="1699" r:id="rId16"/>
    <p:sldId id="1700" r:id="rId17"/>
    <p:sldId id="1701" r:id="rId18"/>
    <p:sldId id="1702" r:id="rId19"/>
    <p:sldId id="1703" r:id="rId20"/>
    <p:sldId id="1704" r:id="rId21"/>
    <p:sldId id="1706" r:id="rId22"/>
    <p:sldId id="1707" r:id="rId23"/>
    <p:sldId id="1708" r:id="rId24"/>
    <p:sldId id="1709" r:id="rId25"/>
    <p:sldId id="1710" r:id="rId26"/>
    <p:sldId id="1690" r:id="rId27"/>
    <p:sldId id="1712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86" d="100"/>
          <a:sy n="86" d="100"/>
        </p:scale>
        <p:origin x="42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11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photos/hands-clay-potter-pottery-1139098/" TargetMode="External"/><Relationship Id="rId3" Type="http://schemas.openxmlformats.org/officeDocument/2006/relationships/hyperlink" Target="https://medium.com/@adilsonbna/installing-a-highly-available-openshift-origin-cluster-f3493cbdb644" TargetMode="External"/><Relationship Id="rId7" Type="http://schemas.openxmlformats.org/officeDocument/2006/relationships/hyperlink" Target="https://pixabay.com/illustrations/call-centre-help-desk-communication-4246688/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pixabay.com/photos/classical-music-orchestra-choir-2199085/" TargetMode="External"/><Relationship Id="rId11" Type="http://schemas.openxmlformats.org/officeDocument/2006/relationships/hyperlink" Target="https://svitla.com/blog/kubernetes-vs-docker" TargetMode="External"/><Relationship Id="rId5" Type="http://schemas.openxmlformats.org/officeDocument/2006/relationships/hyperlink" Target="https://pixabay.com/photos/container-port-loading-stacked-3118783/" TargetMode="External"/><Relationship Id="rId10" Type="http://schemas.openxmlformats.org/officeDocument/2006/relationships/hyperlink" Target="https://github.com/vaquarkhan/vaquarkhan/wiki/Difference-between-scaling-horizontally-and-vertically" TargetMode="External"/><Relationship Id="rId4" Type="http://schemas.openxmlformats.org/officeDocument/2006/relationships/hyperlink" Target="https://pixabay.com/photos/moai-quarry-easter-island-history-3525785/" TargetMode="External"/><Relationship Id="rId9" Type="http://schemas.openxmlformats.org/officeDocument/2006/relationships/hyperlink" Target="https://www.redhat.com/en/topics/microservices/what-are-microservices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5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5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pic>
        <p:nvPicPr>
          <p:cNvPr id="5" name="Picture Placeholder 4" descr="A picture containing room&#10;&#10;Description automatically generated">
            <a:extLst>
              <a:ext uri="{FF2B5EF4-FFF2-40B4-BE49-F238E27FC236}">
                <a16:creationId xmlns:a16="http://schemas.microsoft.com/office/drawing/2014/main" id="{C78CAB24-2841-42A0-AD37-AA2B7EEAC8F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22934" r="22934"/>
          <a:stretch>
            <a:fillRect/>
          </a:stretch>
        </p:blipFill>
        <p:spPr/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3095" y="3441032"/>
            <a:ext cx="1665326" cy="1616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kube</a:t>
            </a:r>
            <a:endParaRPr lang="en-US" sz="2800" dirty="0"/>
          </a:p>
          <a:p>
            <a:pPr lvl="2"/>
            <a:r>
              <a:rPr lang="en-US" sz="2800" dirty="0">
                <a:hlinkClick r:id="rId2"/>
              </a:rPr>
              <a:t>https://github.com/kubernetes/minikube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loud</a:t>
            </a:r>
          </a:p>
          <a:p>
            <a:pPr lvl="1"/>
            <a:r>
              <a:rPr lang="en-US" sz="2800" dirty="0"/>
              <a:t>Terraform/Ansible scripts</a:t>
            </a:r>
          </a:p>
          <a:p>
            <a:pPr lvl="1"/>
            <a:r>
              <a:rPr lang="en-US" sz="2800" dirty="0"/>
              <a:t>Azure Kubernetes Service (AKS)</a:t>
            </a:r>
          </a:p>
          <a:p>
            <a:pPr lvl="1"/>
            <a:r>
              <a:rPr lang="en-US" sz="2800" dirty="0"/>
              <a:t>Elastic Kubernetes Service (EKS)</a:t>
            </a:r>
          </a:p>
        </p:txBody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pic>
        <p:nvPicPr>
          <p:cNvPr id="7" name="Picture Placeholder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559A95-6832-45BD-A48F-CF0546B8B5D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t="1182" b="1182"/>
          <a:stretch>
            <a:fillRect/>
          </a:stretch>
        </p:blipFill>
        <p:spPr/>
      </p:pic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3207548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nterprise Kubernetes</a:t>
            </a:r>
          </a:p>
          <a:p>
            <a:r>
              <a:rPr lang="en-US" sz="2800" dirty="0"/>
              <a:t>Mainly security oriented</a:t>
            </a:r>
          </a:p>
          <a:p>
            <a:r>
              <a:rPr lang="en-US" sz="2800" dirty="0"/>
              <a:t>Can be demanded by customers as the required application deployment</a:t>
            </a:r>
          </a:p>
          <a:p>
            <a:r>
              <a:rPr lang="en-US" sz="2800" dirty="0"/>
              <a:t>Layer over k8s</a:t>
            </a:r>
          </a:p>
          <a:p>
            <a:r>
              <a:rPr lang="en-US" sz="2800" dirty="0"/>
              <a:t>Templates almost the same as in k8s</a:t>
            </a:r>
          </a:p>
          <a:p>
            <a:r>
              <a:rPr lang="en-US" sz="2800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ocal machine</a:t>
            </a:r>
          </a:p>
          <a:p>
            <a:pPr lvl="1"/>
            <a:r>
              <a:rPr lang="en-US" sz="2800" dirty="0" err="1"/>
              <a:t>Minishift</a:t>
            </a:r>
            <a:r>
              <a:rPr lang="en-US" sz="2800" dirty="0"/>
              <a:t> </a:t>
            </a:r>
          </a:p>
          <a:p>
            <a:pPr lvl="2"/>
            <a:r>
              <a:rPr lang="en-US" sz="2800" dirty="0">
                <a:hlinkClick r:id="rId2"/>
              </a:rPr>
              <a:t>https://www.okd.io/minishift/</a:t>
            </a:r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Community version</a:t>
            </a:r>
          </a:p>
          <a:p>
            <a:pPr lvl="1"/>
            <a:r>
              <a:rPr lang="en-US" sz="2800" dirty="0">
                <a:hlinkClick r:id="rId3"/>
              </a:rPr>
              <a:t>https://www.okd.io</a:t>
            </a:r>
            <a:endParaRPr lang="en-US" sz="2800" dirty="0"/>
          </a:p>
          <a:p>
            <a:pPr lvl="1"/>
            <a:r>
              <a:rPr lang="en-US" sz="2800" dirty="0"/>
              <a:t>Azure templates 3.9/3.11 fork</a:t>
            </a:r>
          </a:p>
          <a:p>
            <a:endParaRPr lang="en-US" sz="2800" dirty="0"/>
          </a:p>
          <a:p>
            <a:r>
              <a:rPr lang="en-US" sz="2800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5" name="Picture Placeholder 4" descr="A picture containing person, indoor, wheel, object&#10;&#10;Description automatically generated">
            <a:extLst>
              <a:ext uri="{FF2B5EF4-FFF2-40B4-BE49-F238E27FC236}">
                <a16:creationId xmlns:a16="http://schemas.microsoft.com/office/drawing/2014/main" id="{31511718-F181-475B-890C-02C49DC5B04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22972" r="2297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7" name="Picture Placeholder 6" descr="A picture containing outdoor, sitting, white, table&#10;&#10;Description automatically generated">
            <a:extLst>
              <a:ext uri="{FF2B5EF4-FFF2-40B4-BE49-F238E27FC236}">
                <a16:creationId xmlns:a16="http://schemas.microsoft.com/office/drawing/2014/main" id="{DF59BA97-539D-42BB-B646-69BC3C05D131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3912" r="139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4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Extensions of k8s/OpenShift API</a:t>
            </a:r>
          </a:p>
          <a:p>
            <a:r>
              <a:rPr lang="en-US" sz="2800" dirty="0"/>
              <a:t>Operator framework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</a:t>
            </a:r>
            <a:endParaRPr lang="en-US" sz="2800" dirty="0"/>
          </a:p>
          <a:p>
            <a:pPr lvl="1"/>
            <a:r>
              <a:rPr lang="en-US" sz="2800" dirty="0"/>
              <a:t>Go language</a:t>
            </a:r>
          </a:p>
          <a:p>
            <a:pPr lvl="1"/>
            <a:r>
              <a:rPr lang="en-US" sz="2800" dirty="0"/>
              <a:t>Testing</a:t>
            </a:r>
          </a:p>
          <a:p>
            <a:r>
              <a:rPr lang="en-US" sz="2800" dirty="0"/>
              <a:t>Autopilot of application</a:t>
            </a:r>
          </a:p>
          <a:p>
            <a:pPr lvl="1"/>
            <a:r>
              <a:rPr lang="en-US" sz="2800" dirty="0"/>
              <a:t>Installation, upgrades, restore, backups, auto scaling, self repair…</a:t>
            </a:r>
          </a:p>
        </p:txBody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CustomResource</a:t>
            </a:r>
            <a:r>
              <a:rPr lang="en-US" sz="2800" dirty="0"/>
              <a:t> of OpenShift</a:t>
            </a:r>
          </a:p>
          <a:p>
            <a:endParaRPr lang="en-US" sz="2800" dirty="0"/>
          </a:p>
          <a:p>
            <a:r>
              <a:rPr lang="en-US" sz="2800" dirty="0"/>
              <a:t>Control loop</a:t>
            </a:r>
          </a:p>
          <a:p>
            <a:pPr lvl="1"/>
            <a:r>
              <a:rPr lang="en-US" sz="2800" dirty="0"/>
              <a:t>Watch on objects</a:t>
            </a:r>
          </a:p>
          <a:p>
            <a:pPr lvl="1"/>
            <a:r>
              <a:rPr lang="en-US" sz="2800" dirty="0" err="1"/>
              <a:t>OnChange</a:t>
            </a:r>
            <a:r>
              <a:rPr lang="en-US" sz="2800" dirty="0"/>
              <a:t>: analyze difference between actual and desired state</a:t>
            </a:r>
          </a:p>
          <a:p>
            <a:pPr lvl="1"/>
            <a:r>
              <a:rPr lang="en-US" sz="2800" dirty="0"/>
              <a:t>Act on changes</a:t>
            </a:r>
          </a:p>
          <a:p>
            <a:endParaRPr lang="en-US" sz="2800" dirty="0"/>
          </a:p>
          <a:p>
            <a:r>
              <a:rPr lang="en-US" sz="2800" dirty="0"/>
              <a:t>Example</a:t>
            </a:r>
          </a:p>
          <a:p>
            <a:pPr lvl="1"/>
            <a:r>
              <a:rPr lang="en-US" sz="2800" dirty="0">
                <a:hlinkClick r:id="rId2"/>
              </a:rPr>
              <a:t>https://github.com/operator-framework/operator-sdk-samples/tree/master/memcached-operator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omplex systems moves from monoliths to microservices</a:t>
            </a:r>
          </a:p>
          <a:p>
            <a:endParaRPr lang="en-US" sz="2800" dirty="0"/>
          </a:p>
          <a:p>
            <a:r>
              <a:rPr lang="en-US" sz="2800" dirty="0"/>
              <a:t>Docker becomes software standard</a:t>
            </a:r>
          </a:p>
          <a:p>
            <a:endParaRPr lang="en-US" sz="2800" dirty="0"/>
          </a:p>
          <a:p>
            <a:r>
              <a:rPr lang="en-US" sz="2800" dirty="0"/>
              <a:t>Kubernetes or OpenShift as an containers orchestrator</a:t>
            </a:r>
          </a:p>
          <a:p>
            <a:endParaRPr lang="en-US" sz="2800" dirty="0"/>
          </a:p>
          <a:p>
            <a:r>
              <a:rPr lang="en-US" sz="2800" dirty="0"/>
              <a:t>Complex orchestrating logic via Kubernetes operators</a:t>
            </a:r>
          </a:p>
        </p:txBody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  <a:p>
            <a:r>
              <a:rPr lang="en-US" dirty="0">
                <a:hlinkClick r:id="rId4"/>
              </a:rPr>
              <a:t>https://pixabay.com/photos/moai-quarry-easter-island-history-3525785/</a:t>
            </a:r>
            <a:endParaRPr lang="en-US" dirty="0"/>
          </a:p>
          <a:p>
            <a:r>
              <a:rPr lang="en-US" dirty="0">
                <a:hlinkClick r:id="rId5"/>
              </a:rPr>
              <a:t>https://pixabay.com/photos/container-port-loading-stacked-3118783/</a:t>
            </a:r>
            <a:endParaRPr lang="en-US" dirty="0"/>
          </a:p>
          <a:p>
            <a:r>
              <a:rPr lang="en-US" dirty="0">
                <a:hlinkClick r:id="rId6"/>
              </a:rPr>
              <a:t>https://pixabay.com/photos/classical-music-orchestra-choir-2199085/</a:t>
            </a:r>
            <a:endParaRPr lang="en-US" dirty="0"/>
          </a:p>
          <a:p>
            <a:r>
              <a:rPr lang="en-US" dirty="0">
                <a:hlinkClick r:id="rId7"/>
              </a:rPr>
              <a:t>https://pixabay.com/illustrations/call-centre-help-desk-communication-4246688/</a:t>
            </a:r>
            <a:endParaRPr lang="en-US" dirty="0"/>
          </a:p>
          <a:p>
            <a:r>
              <a:rPr lang="en-US" dirty="0">
                <a:hlinkClick r:id="rId8"/>
              </a:rPr>
              <a:t>https://pixabay.com/photos/hands-clay-potter-pottery-1139098/</a:t>
            </a:r>
            <a:endParaRPr lang="en-US" dirty="0"/>
          </a:p>
          <a:p>
            <a:r>
              <a:rPr lang="en-US" dirty="0">
                <a:hlinkClick r:id="rId9"/>
              </a:rPr>
              <a:t>https://www.redhat.com/en/topics/microservices/what-are-microservices</a:t>
            </a:r>
            <a:endParaRPr lang="en-US" dirty="0"/>
          </a:p>
          <a:p>
            <a:r>
              <a:rPr lang="en-US" dirty="0">
                <a:hlinkClick r:id="rId10"/>
              </a:rPr>
              <a:t>https://github.com/vaquarkhan/vaquarkhan/wiki/Difference-between-scaling-horizontally-and-vertically</a:t>
            </a:r>
            <a:endParaRPr lang="en-US" dirty="0"/>
          </a:p>
          <a:p>
            <a:r>
              <a:rPr lang="en-US" dirty="0">
                <a:hlinkClick r:id="rId11"/>
              </a:rPr>
              <a:t>https://svitla.com/blog/kubernetes-vs-do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32382-DF89-4B7B-9462-152B5924A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pic>
        <p:nvPicPr>
          <p:cNvPr id="6" name="Picture Placeholder 5" descr="A large green field with a mountain in the background&#10;&#10;Description automatically generated">
            <a:extLst>
              <a:ext uri="{FF2B5EF4-FFF2-40B4-BE49-F238E27FC236}">
                <a16:creationId xmlns:a16="http://schemas.microsoft.com/office/drawing/2014/main" id="{9B3B3B2C-48F5-448E-ADCC-E54882FD06D4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22934" r="22934"/>
          <a:stretch>
            <a:fillRect/>
          </a:stretch>
        </p:blipFill>
        <p:spPr>
          <a:xfrm>
            <a:off x="5730240" y="0"/>
            <a:ext cx="6614160" cy="6872296"/>
          </a:xfrm>
        </p:spPr>
      </p:pic>
    </p:spTree>
    <p:extLst>
      <p:ext uri="{BB962C8B-B14F-4D97-AF65-F5344CB8AC3E}">
        <p14:creationId xmlns:p14="http://schemas.microsoft.com/office/powerpoint/2010/main" val="2184683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74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pic>
        <p:nvPicPr>
          <p:cNvPr id="9" name="Picture Placeholder 8" descr="A picture containing outdoor, man, riding, water&#10;&#10;Description automatically generated">
            <a:extLst>
              <a:ext uri="{FF2B5EF4-FFF2-40B4-BE49-F238E27FC236}">
                <a16:creationId xmlns:a16="http://schemas.microsoft.com/office/drawing/2014/main" id="{072D4389-9BB9-40E7-93E8-618361838C2B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9851" r="198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endParaRPr lang="en-US" sz="2800" dirty="0"/>
          </a:p>
          <a:p>
            <a:r>
              <a:rPr lang="en-US" sz="2800" dirty="0"/>
              <a:t>Isolation/Security</a:t>
            </a:r>
          </a:p>
          <a:p>
            <a:endParaRPr lang="en-US" sz="2800" dirty="0"/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endParaRPr lang="en-US" sz="2800" dirty="0"/>
          </a:p>
          <a:p>
            <a:r>
              <a:rPr lang="en-US" sz="2800" dirty="0"/>
              <a:t>Image contains everything for ru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357564-0D8E-43EB-8399-D8E35854AD31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730477" y="1143905"/>
            <a:ext cx="4898295" cy="26646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92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pic>
        <p:nvPicPr>
          <p:cNvPr id="9" name="Picture Placeholder 8" descr="A group of people standing in front of a crowd&#10;&#10;Description automatically generated">
            <a:extLst>
              <a:ext uri="{FF2B5EF4-FFF2-40B4-BE49-F238E27FC236}">
                <a16:creationId xmlns:a16="http://schemas.microsoft.com/office/drawing/2014/main" id="{8CC67AFA-4156-463C-BD0D-1A98426AE623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8"/>
          <a:srcRect l="17859" r="178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un and control more containers simultaneously</a:t>
            </a:r>
          </a:p>
          <a:p>
            <a:endParaRPr lang="en-US" sz="2800" dirty="0"/>
          </a:p>
          <a:p>
            <a:r>
              <a:rPr lang="en-US" sz="2800" dirty="0"/>
              <a:t>Maintenance of application cluster state</a:t>
            </a:r>
          </a:p>
          <a:p>
            <a:endParaRPr lang="en-US" sz="2800" dirty="0"/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800" dirty="0"/>
              <a:t>Docker Compose</a:t>
            </a:r>
          </a:p>
          <a:p>
            <a:pPr lvl="1"/>
            <a:r>
              <a:rPr lang="en-US" sz="2800" dirty="0"/>
              <a:t>Docker Swarm</a:t>
            </a:r>
          </a:p>
          <a:p>
            <a:pPr lvl="1"/>
            <a:r>
              <a:rPr lang="en-US" sz="2800" dirty="0"/>
              <a:t>Kubernetes/OpenShift</a:t>
            </a:r>
          </a:p>
        </p:txBody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7cf5ea5-dbd4-4264-9cbd-1657fe4f88b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433</TotalTime>
  <Words>439</Words>
  <Application>Microsoft Office PowerPoint</Application>
  <PresentationFormat>Widescreen</PresentationFormat>
  <Paragraphs>129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70</cp:revision>
  <cp:lastPrinted>2019-09-08T06:20:56Z</cp:lastPrinted>
  <dcterms:created xsi:type="dcterms:W3CDTF">2019-10-09T06:01:13Z</dcterms:created>
  <dcterms:modified xsi:type="dcterms:W3CDTF">2019-10-11T17:0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